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7" r:id="rId5"/>
    <p:sldId id="25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9974C2-F5C8-CCDF-17B6-F178B5E1CE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3CB13E1D-7B7E-0D7B-AFD8-0F50AEF51A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42B32AE-8D59-1F3B-F9DF-6386760C9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6D74BF-1282-DE5B-C4C1-764199190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BDDFFD8-28B5-C3F1-8B55-D324F6DFE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874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99388E-E851-436D-D31B-79380A82E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124AF81D-3472-C0FB-17C7-78576F38E6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F32FCEE-20BD-D4A1-597D-E08C3C5EA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1D64F38-6C4A-66A4-7728-78A192BC9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69F576F-D30C-9C29-3E98-951E29467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708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D5FF39EB-9944-7EA0-56A9-C2F66DD7D1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DFBFE4E7-4DC0-4FC7-F1BD-3349DF3C38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6A814A6-F1DA-A671-6EF1-5984D0E6B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07017ED-A8E4-D221-0E1D-C09CC0195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98CD180-82F1-FF4E-3D8B-77A894720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128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B4DEB9-16B7-5A71-04B5-9C0239492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39AEB11-B47C-CB47-8051-270B6F9C03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A15CB61-D2BC-0703-4F25-AB70A48C64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0E1C403-5AB6-4B6D-210C-A50F952B7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A09E83C-B793-D0E4-52F3-4E4C302531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558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F29135-143C-C826-DAC2-C2EE8FF29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7A0B1F3-84B5-9D42-03A7-03FB3ED68E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938E066-5455-4CB6-3DE1-9D1347B62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468E2D8-363A-1824-4037-1BC24284D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A198573-094D-57DF-17AF-819FBF2B3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875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CFF973-D70B-E4CE-772B-12EB9AF98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135AC2-4487-AD79-95DB-60E281FC2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B714C20C-80CC-E55E-8AC9-DA6EC9119C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0ABBB70-E9FD-9BC4-B956-FFC30BBFE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AC9A4B71-D845-4351-E61D-6257D4744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27B5049-2426-FAD3-E834-C051E11AA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0238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383DAA-FA79-183C-D33D-E77782B1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38D4F54-497A-F4BA-B1EC-7555BAC372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E0F01BC5-C8D2-E724-653F-E5DB4515C0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E8B18E1B-0C1F-5B0F-4FB4-56C1302DC6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BAA36E5-5B46-C632-A534-134761150B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FC19AEEE-2E00-9402-CEA8-088FE5067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F4DD2487-ABA9-2577-AEA3-84567E895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F25C8EA7-09F7-1298-2CEE-EEAC996EA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55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D5E395-A66E-E207-08B5-CF4F0DCCC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48007C4D-BD64-860E-9E47-8CF9DEBCCB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90AF42E-40AC-9820-E694-2066562DD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53904AA-FA40-9205-0C52-DA0C254F3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233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C0CB865-AF36-65BE-DAAE-DD313544E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5180E38-2574-6037-C651-D1ABE9975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828AB7A-0173-55D3-9451-DF5ECD960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205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4CBC30-1F4F-4C19-B67C-64327ADEB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69F11C4-328F-1BB7-B124-3B9C027A1D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4438F87-870B-CA69-07A6-F19A9D386B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C68832D-9B09-16E0-7E59-5A2556E7B0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295547C-A8FC-5A49-EC3F-D39960DA5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7C81ED8-7490-D89B-BD2A-01D3B86C53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065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7F71FB-9FB0-BA5B-0445-75B544A82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D21AD2AB-6684-FF8F-E9D4-1395EBF168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9845776-C1EB-7A96-6F5E-14CE0F8A27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3D1CAE4-EF23-0748-C2E1-DFE95B5ED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BDC4BE8-9245-25D0-7086-E06439F74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07CD943-6C37-AD82-C361-F5A48FD2D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96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DB8D5CD-A669-2CAD-EB60-66FC5827FF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031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4827C3B7-6953-1235-907C-2962DFF9E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FCFF6B0A-E2AD-F3E6-93D1-4A5AB1E1D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46AFE81-01C3-0FD9-F981-195ED6588F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F2D5BA-7DB0-4C60-9BE4-237DD6287838}" type="datetimeFigureOut">
              <a:rPr lang="en-US" smtClean="0"/>
              <a:t>1/10/2026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B613812-D41D-4154-30B8-96A4EE6004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5BABE30-1411-2173-E7D1-72B1B635BD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3F5B01-31FC-45C8-B603-314F5F53E9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449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789A7C4-5570-47D5-BB70-F8FFA82140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50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C3D091-C3E9-426F-26A4-B57BAE3E24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9249" y="119117"/>
            <a:ext cx="11262049" cy="852433"/>
          </a:xfrm>
        </p:spPr>
        <p:txBody>
          <a:bodyPr vert="horz">
            <a:normAutofit/>
          </a:bodyPr>
          <a:lstStyle/>
          <a:p>
            <a:r>
              <a:rPr lang="da-DK" sz="5000" dirty="0"/>
              <a:t>Junior forårs program 2026</a:t>
            </a:r>
            <a:endParaRPr lang="en-US" sz="50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F904843C-43FF-41AE-CD0C-F8405F9383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698" y="1084679"/>
            <a:ext cx="10725150" cy="3475037"/>
          </a:xfrm>
        </p:spPr>
        <p:txBody>
          <a:bodyPr>
            <a:normAutofit/>
          </a:bodyPr>
          <a:lstStyle/>
          <a:p>
            <a:r>
              <a:rPr lang="da-DK" dirty="0"/>
              <a:t>Kære alle juniorspejdere</a:t>
            </a:r>
          </a:p>
          <a:p>
            <a:r>
              <a:rPr lang="da-DK" dirty="0"/>
              <a:t>Her har I halvårsprogrammet for 1. halvår 2026.</a:t>
            </a:r>
          </a:p>
          <a:p>
            <a:r>
              <a:rPr lang="da-DK" b="1" dirty="0"/>
              <a:t>Husk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a-DK" dirty="0"/>
              <a:t>Til spejdermøder har vi altid tørklæde og uniform på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Hvis du ikke kan komme, skal dine forældre sende en SMS til Sanne på 24 78 57 0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Vi glæder os til at se dig igen til et fedt spejderhalvår.</a:t>
            </a:r>
          </a:p>
          <a:p>
            <a:endParaRPr lang="da-DK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280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3C92AC-88FB-64B2-70CC-CACEA9E6E9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6774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3BEFD7-DCBA-2B97-B8B8-D0B86DDBA42B}"/>
              </a:ext>
            </a:extLst>
          </p:cNvPr>
          <p:cNvSpPr txBox="1">
            <a:spLocks/>
          </p:cNvSpPr>
          <p:nvPr/>
        </p:nvSpPr>
        <p:spPr>
          <a:xfrm>
            <a:off x="838200" y="609600"/>
            <a:ext cx="3739341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600"/>
              </a:spcAft>
            </a:pP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Junior 1. </a:t>
            </a:r>
            <a:r>
              <a:rPr lang="en-US" sz="4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halvå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2026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9F8A61C6-5848-7023-C5A7-9B890DA39091}"/>
              </a:ext>
            </a:extLst>
          </p:cNvPr>
          <p:cNvSpPr txBox="1"/>
          <p:nvPr/>
        </p:nvSpPr>
        <p:spPr>
          <a:xfrm>
            <a:off x="862366" y="2194102"/>
            <a:ext cx="3427001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Hermed</a:t>
            </a:r>
            <a:r>
              <a:rPr lang="en-US" sz="2000" dirty="0"/>
              <a:t> et program </a:t>
            </a:r>
            <a:r>
              <a:rPr lang="en-US" sz="2000" dirty="0" err="1"/>
              <a:t>til</a:t>
            </a:r>
            <a:r>
              <a:rPr lang="en-US" sz="2000" dirty="0"/>
              <a:t> </a:t>
            </a:r>
            <a:r>
              <a:rPr lang="en-US" sz="2000" dirty="0" err="1"/>
              <a:t>køleskabet</a:t>
            </a:r>
            <a:r>
              <a:rPr lang="en-US" sz="2000" dirty="0"/>
              <a:t>.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Er der et </a:t>
            </a:r>
            <a:r>
              <a:rPr lang="en-US" sz="2000" dirty="0" err="1"/>
              <a:t>forløb</a:t>
            </a:r>
            <a:r>
              <a:rPr lang="en-US" sz="2000" dirty="0"/>
              <a:t> </a:t>
            </a:r>
            <a:r>
              <a:rPr lang="en-US" sz="2000" dirty="0" err="1"/>
              <a:t>eller</a:t>
            </a:r>
            <a:r>
              <a:rPr lang="en-US" sz="2000" dirty="0"/>
              <a:t> </a:t>
            </a:r>
            <a:r>
              <a:rPr lang="en-US" sz="2000" dirty="0" err="1"/>
              <a:t>en</a:t>
            </a:r>
            <a:r>
              <a:rPr lang="en-US" sz="2000" dirty="0"/>
              <a:t> tur, du </a:t>
            </a:r>
            <a:r>
              <a:rPr lang="en-US" sz="2000" dirty="0" err="1"/>
              <a:t>som</a:t>
            </a:r>
            <a:r>
              <a:rPr lang="en-US" sz="2000" dirty="0"/>
              <a:t> </a:t>
            </a:r>
            <a:r>
              <a:rPr lang="en-US" sz="2000" dirty="0" err="1"/>
              <a:t>forældre</a:t>
            </a:r>
            <a:r>
              <a:rPr lang="en-US" sz="2000" dirty="0"/>
              <a:t>, </a:t>
            </a:r>
            <a:r>
              <a:rPr lang="en-US" sz="2000" dirty="0" err="1"/>
              <a:t>har</a:t>
            </a:r>
            <a:r>
              <a:rPr lang="en-US" sz="2000" dirty="0"/>
              <a:t> </a:t>
            </a:r>
            <a:r>
              <a:rPr lang="en-US" sz="2000" dirty="0" err="1"/>
              <a:t>lyst</a:t>
            </a:r>
            <a:r>
              <a:rPr lang="en-US" sz="2000" dirty="0"/>
              <a:t> </a:t>
            </a:r>
            <a:r>
              <a:rPr lang="en-US" sz="2000" dirty="0" err="1"/>
              <a:t>til</a:t>
            </a:r>
            <a:r>
              <a:rPr lang="en-US" sz="2000" dirty="0"/>
              <a:t> at </a:t>
            </a:r>
            <a:r>
              <a:rPr lang="en-US" sz="2000" dirty="0" err="1"/>
              <a:t>være</a:t>
            </a:r>
            <a:r>
              <a:rPr lang="en-US" sz="2000" dirty="0"/>
              <a:t> med </a:t>
            </a:r>
            <a:r>
              <a:rPr lang="en-US" sz="2000" dirty="0" err="1"/>
              <a:t>på</a:t>
            </a:r>
            <a:r>
              <a:rPr lang="en-US" sz="2000" dirty="0"/>
              <a:t>, </a:t>
            </a:r>
            <a:r>
              <a:rPr lang="en-US" sz="2000" dirty="0" err="1"/>
              <a:t>så</a:t>
            </a:r>
            <a:r>
              <a:rPr lang="en-US" sz="2000" dirty="0"/>
              <a:t> tag fat </a:t>
            </a:r>
            <a:r>
              <a:rPr lang="en-US" sz="2000" dirty="0" err="1"/>
              <a:t>i</a:t>
            </a:r>
            <a:r>
              <a:rPr lang="en-US" sz="2000" dirty="0"/>
              <a:t> </a:t>
            </a:r>
            <a:r>
              <a:rPr lang="en-US" sz="2000" dirty="0" err="1"/>
              <a:t>os</a:t>
            </a: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pic>
        <p:nvPicPr>
          <p:cNvPr id="6" name="Billede 5" descr="A black footprint on a white background&#10;&#10;AI-generated content may be incorrect.">
            <a:extLst>
              <a:ext uri="{FF2B5EF4-FFF2-40B4-BE49-F238E27FC236}">
                <a16:creationId xmlns:a16="http://schemas.microsoft.com/office/drawing/2014/main" id="{95807E01-A578-7194-CAE0-BDD59DF1B6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07174" y="94004"/>
            <a:ext cx="884825" cy="820396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AF8E64C-9775-088F-2817-1FF3A22B54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859187"/>
              </p:ext>
            </p:extLst>
          </p:nvPr>
        </p:nvGraphicFramePr>
        <p:xfrm>
          <a:off x="5439907" y="849614"/>
          <a:ext cx="5653438" cy="4506980"/>
        </p:xfrm>
        <a:graphic>
          <a:graphicData uri="http://schemas.openxmlformats.org/drawingml/2006/table">
            <a:tbl>
              <a:tblPr/>
              <a:tblGrid>
                <a:gridCol w="1623084">
                  <a:extLst>
                    <a:ext uri="{9D8B030D-6E8A-4147-A177-3AD203B41FA5}">
                      <a16:colId xmlns:a16="http://schemas.microsoft.com/office/drawing/2014/main" val="1769674046"/>
                    </a:ext>
                  </a:extLst>
                </a:gridCol>
                <a:gridCol w="1531898">
                  <a:extLst>
                    <a:ext uri="{9D8B030D-6E8A-4147-A177-3AD203B41FA5}">
                      <a16:colId xmlns:a16="http://schemas.microsoft.com/office/drawing/2014/main" val="2302136202"/>
                    </a:ext>
                  </a:extLst>
                </a:gridCol>
                <a:gridCol w="2498456">
                  <a:extLst>
                    <a:ext uri="{9D8B030D-6E8A-4147-A177-3AD203B41FA5}">
                      <a16:colId xmlns:a16="http://schemas.microsoft.com/office/drawing/2014/main" val="3022551195"/>
                    </a:ext>
                  </a:extLst>
                </a:gridCol>
              </a:tblGrid>
              <a:tr h="130795"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C2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DATO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C2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EMNE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C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910323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2 Janua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Riderforløb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8645955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9 Janua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Riderforløb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6973979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6 Janua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Riderforløb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1738413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 Februa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 dirty="0" err="1">
                          <a:effectLst/>
                        </a:rPr>
                        <a:t>Riderforløb</a:t>
                      </a:r>
                      <a:endParaRPr lang="da-DK" sz="800" dirty="0">
                        <a:effectLst/>
                      </a:endParaRP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3972848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9 Februar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Vinterferie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2556025"/>
                  </a:ext>
                </a:extLst>
              </a:tr>
              <a:tr h="245640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6 Februa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Musik stres løb. Forberedelse til gruppetu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634683"/>
                  </a:ext>
                </a:extLst>
              </a:tr>
              <a:tr h="245640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3 Februa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Grupperådsmødet, fællesmøde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8625019"/>
                  </a:ext>
                </a:extLst>
              </a:tr>
              <a:tr h="245640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7 Febuar - 1 Mart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Gruppetur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0282115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 Mart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AFLYST PGA. GRUPPETU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795483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9 Mart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Kort og kompa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58248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6 Mart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Kort og kompas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694866"/>
                  </a:ext>
                </a:extLst>
              </a:tr>
              <a:tr h="245640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3 mart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Divi forberedelse - Mad, turn out mv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710389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30 Mart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PÅSKE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2512765"/>
                  </a:ext>
                </a:extLst>
              </a:tr>
              <a:tr h="245640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3 April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Divi forberedelse - Mad, turn out mv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980885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Fredag - Sø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8-19 April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Junier Divi tu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1726218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0 April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AFLYST PGA. JUNIER DIVI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491200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7 April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Skt gerogsdag, Fællesmøde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2991012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4 Maj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Sejla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0686298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1 Maj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Sejlla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909758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8 Maj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Lejrarkitekt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1926584"/>
                  </a:ext>
                </a:extLst>
              </a:tr>
              <a:tr h="245640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Pinsen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4-25 Maj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PUF kursus for 2. års juniore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3327604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 Juni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Lejrarkitekt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5500162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8 Juni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Lejrarkitekt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007184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lørdag-Sø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3-14 Juni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Lejrarkitekt tur på grunden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7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962684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15 Juni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AFLYST PGA. TUR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162137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Mandag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2 Juni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>
                          <a:effectLst/>
                        </a:rPr>
                        <a:t>Lergraven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53248"/>
                  </a:ext>
                </a:extLst>
              </a:tr>
              <a:tr h="130795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Tirsdag 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da-DK" sz="800">
                          <a:effectLst/>
                        </a:rPr>
                        <a:t>23 Juni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da-DK" sz="800" dirty="0">
                          <a:effectLst/>
                        </a:rPr>
                        <a:t>Sankt Hans</a:t>
                      </a:r>
                    </a:p>
                  </a:txBody>
                  <a:tcPr marL="11963" marR="11963" marT="7975" marB="7975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985888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D8449F5-FB1D-4E68-6676-FD9A1D676785}"/>
              </a:ext>
            </a:extLst>
          </p:cNvPr>
          <p:cNvSpPr txBox="1"/>
          <p:nvPr/>
        </p:nvSpPr>
        <p:spPr>
          <a:xfrm>
            <a:off x="5439907" y="5650302"/>
            <a:ext cx="5653438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a-DK" dirty="0"/>
              <a:t>HUSK tilmelding til Spejdernes Lejr som afholde den 18. til 26 Juli i </a:t>
            </a:r>
            <a:r>
              <a:rPr lang="da-DK" dirty="0" err="1"/>
              <a:t>Hedeland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39089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20837E2FEAF9F4FAB43931345FBBADA" ma:contentTypeVersion="11" ma:contentTypeDescription="Opret et nyt dokument." ma:contentTypeScope="" ma:versionID="68a3748e4c109e2ffae195da896527c3">
  <xsd:schema xmlns:xsd="http://www.w3.org/2001/XMLSchema" xmlns:xs="http://www.w3.org/2001/XMLSchema" xmlns:p="http://schemas.microsoft.com/office/2006/metadata/properties" xmlns:ns2="2cc96728-160c-4853-990d-f0c507bbf50d" targetNamespace="http://schemas.microsoft.com/office/2006/metadata/properties" ma:root="true" ma:fieldsID="322a8f07316abdb35c03041395a602eb" ns2:_="">
    <xsd:import namespace="2cc96728-160c-4853-990d-f0c507bbf5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c96728-160c-4853-990d-f0c507bbf5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21E87B-A69B-4C30-9A12-52248F9EF5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ECA5DA-9956-4304-B5F9-146FE78C68D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9F21045-357C-4AE6-A77B-6F3DE6C885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c96728-160c-4853-990d-f0c507bbf5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8</TotalTime>
  <Words>278</Words>
  <Application>Microsoft Office PowerPoint</Application>
  <PresentationFormat>Widescreen</PresentationFormat>
  <Paragraphs>9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-tema</vt:lpstr>
      <vt:lpstr>think-cell Slide</vt:lpstr>
      <vt:lpstr>Junior forårs program 2026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Sanne Valentin Bjerregaard</dc:creator>
  <cp:lastModifiedBy>Sanne Valentin Bjerregaard</cp:lastModifiedBy>
  <cp:revision>14</cp:revision>
  <dcterms:created xsi:type="dcterms:W3CDTF">2023-01-23T18:18:33Z</dcterms:created>
  <dcterms:modified xsi:type="dcterms:W3CDTF">2026-01-10T08:0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0837E2FEAF9F4FAB43931345FBBADA</vt:lpwstr>
  </property>
</Properties>
</file>